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721" r:id="rId2"/>
    <p:sldId id="709" r:id="rId3"/>
    <p:sldId id="720" r:id="rId4"/>
    <p:sldId id="715" r:id="rId5"/>
    <p:sldId id="716" r:id="rId6"/>
    <p:sldId id="717" r:id="rId7"/>
    <p:sldId id="718" r:id="rId8"/>
    <p:sldId id="562" r:id="rId9"/>
    <p:sldId id="553" r:id="rId10"/>
    <p:sldId id="556" r:id="rId11"/>
    <p:sldId id="560" r:id="rId12"/>
    <p:sldId id="554" r:id="rId13"/>
    <p:sldId id="710" r:id="rId14"/>
    <p:sldId id="561" r:id="rId15"/>
    <p:sldId id="557" r:id="rId16"/>
    <p:sldId id="711" r:id="rId17"/>
    <p:sldId id="719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5979"/>
    <a:srgbClr val="ECFC00"/>
    <a:srgbClr val="FFFF00"/>
    <a:srgbClr val="EA6B66"/>
    <a:srgbClr val="00994D"/>
    <a:srgbClr val="007FFF"/>
    <a:srgbClr val="9933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56" autoAdjust="0"/>
    <p:restoredTop sz="94660"/>
  </p:normalViewPr>
  <p:slideViewPr>
    <p:cSldViewPr snapToGrid="0">
      <p:cViewPr varScale="1">
        <p:scale>
          <a:sx n="112" d="100"/>
          <a:sy n="112" d="100"/>
        </p:scale>
        <p:origin x="534" y="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E62246-8680-4D4D-A3BD-0C5BFD468F61}" type="datetimeFigureOut">
              <a:rPr lang="en-US" smtClean="0"/>
              <a:t>6/2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5DA40C-4CFC-4D50-9A03-F1D1224C12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7540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24285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293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69673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24901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92521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0841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B61D77-3ABE-38BF-B7C3-14989A6F21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153CA9-6ED7-3E15-376B-07736DEF7F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6A11C3-3334-5063-CC6D-DB12FF3472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6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5B980B-64CA-9093-9BFD-AA244B586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E2C3FC-709A-049B-F8AC-A84A38AB0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12999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ADB7CC-D1DF-8402-05CD-408D973D8B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69E2AF8-7D69-8083-9665-CBC50EF0EC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128C92-848E-7ACE-5612-E0B2C0270A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6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1C9D5A-A351-1A4A-FC87-403669DFF1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3931C7-44A0-A71C-0335-FAA9C59AE0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0188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1E5C6CC-BE2C-5CEF-4FEB-CC4CBF0368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31A8564-E15D-5FBE-63D3-BED8D2C7C8F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B96AA1-55DF-FE30-1264-BEDB2CF81E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6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CB9A07-C1A2-53FB-88FD-0E7C9108B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62195F-069D-91D9-F576-AD9704D364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94056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11C4EF-9466-F84E-C8C2-939AE2A679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644F28-9CD9-CB3C-2ED6-C649DE0773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6CB9FE-8444-CB0B-B3A1-1A29B9D82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6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285928-9D3F-1205-E206-1579E8D482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1E4F71-C0B3-FF9B-4796-5298836A02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5569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072E20-6BFF-0813-8C48-B84739AB3B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34653B-3E11-1D09-C653-A0A6DDCC8A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DC7774-963D-4A97-988F-43DEE296AF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6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92780-2D80-FAD5-33E5-A0A340C5F7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75EDFA-A0F9-7513-AB08-04A5627487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6357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3BC943-AF42-82C7-B01E-4F0A76F26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CE2C0E-95FB-80ED-727F-0759AE3FEBA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858735-866E-8DDA-DCEF-8AD526B9B67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12F1DF-38B4-5FF5-7993-87B116FD19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6/2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37BE09-A63A-9E92-6149-852F96AC53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2FD9DAF-1A93-B8D3-2311-D0EF80597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5930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F2B4C5-35EB-F51D-B1D0-A91F7265F3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B484EF-EA6F-1539-71CE-E16A5672B1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9BBBF5D-78A7-6506-71DD-F0359CDBEC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1226723-BB6D-B522-84A1-7B4A3C8D126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579E79-92E9-289E-A8B5-8E78E1671F0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66562A5-3B4B-A153-3F7F-BF7A347641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6/25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D8F1D4-A09A-EE22-E671-0EF5F9A10B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75DA612-A528-F1B8-0AA0-9AFE4C0C19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90069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1BE522-F5B4-B20E-F02E-62E27A6E40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D1D3F8-29A1-9A9B-9135-EC7992CD61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6/2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6170FE-48AE-7F32-4CF0-BDFA12811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57F5D0-FCFA-347C-6BB2-2B6CE2B9E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82542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EF88693-7619-0619-624F-DA693D25F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6/2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ED4586-D6D3-1F39-D9BD-81B99A128B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D5A587-5A95-D242-5C42-57D163F200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39017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954C56-54A7-BA47-2CDF-1549C18C19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FD79A9-8408-A31B-A983-16756B1304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BD0F4D5-64C1-9FE1-6AE9-9DABCE7BF0F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599BF2-5177-2A26-24A2-307517C981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6/2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BBE200A-7F75-D42A-2169-EBF235FFA2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5709896-4D6C-B437-4E82-6FAA302BE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7384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CBBEBD-7710-4394-EBF1-1DB5A39C8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FFED5-37A4-F6A9-F1D4-FD199D70577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50CEDA1-98BF-5C08-7125-E4FA930015F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1E6A75-A6D5-94F7-8DD0-9CCF8211FE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5CBC1-10D1-4E1D-B7D3-1A6D6027583C}" type="datetimeFigureOut">
              <a:rPr lang="en-US" smtClean="0"/>
              <a:t>6/2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378D26-C6C0-1CE6-A085-EA9743C447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DA07230-2147-96CD-8094-588A324A81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EF4D1B-0DAD-4708-B884-1FAAE84297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9708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62E7D1F-DB6D-5A30-5C01-7EB572622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62ED89-E80F-E359-52C2-D0160F8111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448745-0EC5-38F9-644F-F839C8C53B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2060"/>
                </a:solidFill>
              </a:defRPr>
            </a:lvl1pPr>
          </a:lstStyle>
          <a:p>
            <a:fld id="{DE15CBC1-10D1-4E1D-B7D3-1A6D6027583C}" type="datetimeFigureOut">
              <a:rPr lang="en-US" smtClean="0"/>
              <a:pPr/>
              <a:t>6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0A0D8A-7823-BA5D-CAF1-BEA2C95437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206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EB159D-9A79-3B21-F22F-621E3A1725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002060"/>
                </a:solidFill>
              </a:defRPr>
            </a:lvl1pPr>
          </a:lstStyle>
          <a:p>
            <a:fld id="{2BEF4D1B-0DAD-4708-B884-1FAAE84297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221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2060"/>
          </a:solidFill>
          <a:latin typeface="Avenir Next LT Pro" panose="020B05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800" kern="1200">
          <a:solidFill>
            <a:srgbClr val="002060"/>
          </a:solidFill>
          <a:latin typeface="Avenir Next LT Pro Light" panose="020B03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rgbClr val="002060"/>
          </a:solidFill>
          <a:latin typeface="Avenir Next LT Pro Light" panose="020B03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rgbClr val="002060"/>
          </a:solidFill>
          <a:latin typeface="Avenir Next LT Pro Light" panose="020B03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rgbClr val="002060"/>
          </a:solidFill>
          <a:latin typeface="Avenir Next LT Pro Light" panose="020B03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rgbClr val="002060"/>
          </a:solidFill>
          <a:latin typeface="Avenir Next LT Pro Light" panose="020B03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hyperlink" Target="https://iterm2.com/downloads.html" TargetMode="Externa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s://www.python.org/downloads/" TargetMode="Externa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docs.anaconda.com/free/anaconda/install/" TargetMode="Externa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4.jpeg"/><Relationship Id="rId7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1.png"/><Relationship Id="rId4" Type="http://schemas.openxmlformats.org/officeDocument/2006/relationships/image" Target="../media/image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1.png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6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jpeg"/><Relationship Id="rId11" Type="http://schemas.openxmlformats.org/officeDocument/2006/relationships/image" Target="../media/image6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9.xml"/><Relationship Id="rId7" Type="http://schemas.openxmlformats.org/officeDocument/2006/relationships/image" Target="../media/image4.jpeg"/><Relationship Id="rId12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notesSlide" Target="../notesSlides/notesSlide5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3.jpeg"/><Relationship Id="rId4" Type="http://schemas.openxmlformats.org/officeDocument/2006/relationships/tags" Target="../tags/tag10.xml"/><Relationship Id="rId9" Type="http://schemas.openxmlformats.org/officeDocument/2006/relationships/image" Target="../media/image2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13" Type="http://schemas.openxmlformats.org/officeDocument/2006/relationships/image" Target="../media/image2.jpeg"/><Relationship Id="rId3" Type="http://schemas.openxmlformats.org/officeDocument/2006/relationships/tags" Target="../tags/tag13.xml"/><Relationship Id="rId7" Type="http://schemas.openxmlformats.org/officeDocument/2006/relationships/notesSlide" Target="../notesSlides/notesSlide6.xml"/><Relationship Id="rId12" Type="http://schemas.openxmlformats.org/officeDocument/2006/relationships/image" Target="../media/image5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4.jpeg"/><Relationship Id="rId5" Type="http://schemas.openxmlformats.org/officeDocument/2006/relationships/tags" Target="../tags/tag15.xml"/><Relationship Id="rId10" Type="http://schemas.openxmlformats.org/officeDocument/2006/relationships/image" Target="../media/image7.png"/><Relationship Id="rId4" Type="http://schemas.openxmlformats.org/officeDocument/2006/relationships/tags" Target="../tags/tag14.xml"/><Relationship Id="rId9" Type="http://schemas.openxmlformats.org/officeDocument/2006/relationships/image" Target="../media/image6.png"/><Relationship Id="rId14" Type="http://schemas.openxmlformats.org/officeDocument/2006/relationships/image" Target="../media/image3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code.visualstudio.com/download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s://www.jetbrains.com/pycharm/download/?section=windows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jpe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12D082-5364-76A3-B949-AFCDD7830B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4412" y="891652"/>
            <a:ext cx="11323177" cy="1796130"/>
          </a:xfrm>
        </p:spPr>
        <p:txBody>
          <a:bodyPr anchor="b">
            <a:normAutofit/>
          </a:bodyPr>
          <a:lstStyle/>
          <a:p>
            <a:r>
              <a:rPr lang="en-US" sz="3600" b="1" dirty="0">
                <a:gradFill>
                  <a:gsLst>
                    <a:gs pos="29000">
                      <a:srgbClr val="041462"/>
                    </a:gs>
                    <a:gs pos="85000">
                      <a:srgbClr val="1B5CE0"/>
                    </a:gs>
                  </a:gsLst>
                  <a:lin ang="2700000" scaled="0"/>
                </a:gradFill>
                <a:latin typeface="+mn-lt"/>
              </a:rPr>
              <a:t>Part 1 – Software Prerequisites for Python projec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AF088BF9-AB07-AB82-93C3-C22A14AC0DE7}"/>
              </a:ext>
            </a:extLst>
          </p:cNvPr>
          <p:cNvSpPr txBox="1">
            <a:spLocks/>
          </p:cNvSpPr>
          <p:nvPr/>
        </p:nvSpPr>
        <p:spPr>
          <a:xfrm>
            <a:off x="4348428" y="3222771"/>
            <a:ext cx="3495144" cy="453302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None/>
              <a:defRPr sz="2400" kern="1200">
                <a:solidFill>
                  <a:srgbClr val="002060"/>
                </a:solidFill>
                <a:latin typeface="Avenir Next LT Pro Light" panose="020B0304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rgbClr val="002060"/>
                </a:solidFill>
                <a:latin typeface="Avenir Next LT Pro Light" panose="020B0304020202020204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rgbClr val="002060"/>
                </a:solidFill>
                <a:latin typeface="Avenir Next LT Pro Light" panose="020B0304020202020204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rgbClr val="002060"/>
                </a:solidFill>
                <a:latin typeface="Avenir Next LT Pro Light" panose="020B0304020202020204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rgbClr val="002060"/>
                </a:solidFill>
                <a:latin typeface="Avenir Next LT Pro Light" panose="020B0304020202020204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600" dirty="0">
                <a:gradFill>
                  <a:gsLst>
                    <a:gs pos="29000">
                      <a:srgbClr val="041462"/>
                    </a:gs>
                    <a:gs pos="85000">
                      <a:srgbClr val="1B5CE0"/>
                    </a:gs>
                  </a:gsLst>
                  <a:lin ang="2700000" scaled="0"/>
                </a:gradFill>
                <a:latin typeface="+mn-lt"/>
              </a:rPr>
              <a:t>Quang Duong</a:t>
            </a:r>
          </a:p>
        </p:txBody>
      </p:sp>
      <p:pic>
        <p:nvPicPr>
          <p:cNvPr id="3" name="Picture 2" descr="A blue and yellow snake logo&#10;&#10;Description automatically generated">
            <a:extLst>
              <a:ext uri="{FF2B5EF4-FFF2-40B4-BE49-F238E27FC236}">
                <a16:creationId xmlns:a16="http://schemas.microsoft.com/office/drawing/2014/main" id="{3BD2478D-B442-A862-18DD-459F98D750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007" y="5093833"/>
            <a:ext cx="1047985" cy="1153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27568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rmin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919421"/>
          </a:xfrm>
        </p:spPr>
        <p:txBody>
          <a:bodyPr>
            <a:normAutofit/>
          </a:bodyPr>
          <a:lstStyle/>
          <a:p>
            <a:r>
              <a:rPr lang="en-US" dirty="0"/>
              <a:t> Window: </a:t>
            </a:r>
            <a:r>
              <a:rPr lang="en-US" b="1" dirty="0"/>
              <a:t>PowerShell</a:t>
            </a:r>
            <a:r>
              <a:rPr lang="en-US" dirty="0"/>
              <a:t>, Command Prompt, Windows Terminal, Git Bash, WSL (Window Subsystem for Linux), …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2DB0E5A-DFC6-338A-493D-70A9AC5A1E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0303" y="2913043"/>
            <a:ext cx="9811393" cy="3579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9049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rmin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4"/>
            <a:ext cx="11193379" cy="4919421"/>
          </a:xfrm>
        </p:spPr>
        <p:txBody>
          <a:bodyPr>
            <a:normAutofit/>
          </a:bodyPr>
          <a:lstStyle/>
          <a:p>
            <a:r>
              <a:rPr lang="en-US" dirty="0"/>
              <a:t>Linux: Default terminal emulator, …</a:t>
            </a:r>
          </a:p>
          <a:p>
            <a:r>
              <a:rPr lang="en-US" dirty="0"/>
              <a:t>MacOS: Terminal, </a:t>
            </a:r>
            <a:r>
              <a:rPr lang="en-US" b="1" dirty="0"/>
              <a:t>iTerm2 (</a:t>
            </a:r>
            <a:r>
              <a:rPr lang="en-US" b="1" dirty="0">
                <a:hlinkClick r:id="rId2"/>
              </a:rPr>
              <a:t>https://iterm2.com/downloads.html</a:t>
            </a:r>
            <a:r>
              <a:rPr lang="en-US" b="1" dirty="0"/>
              <a:t>)</a:t>
            </a:r>
            <a:r>
              <a:rPr lang="en-US" dirty="0"/>
              <a:t>, …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3F71C83-0D65-30C5-3A0E-73F4806468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5886" y="2971321"/>
            <a:ext cx="7650484" cy="3521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7318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yth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 Installing Python (</a:t>
            </a:r>
            <a:r>
              <a:rPr lang="en-US" dirty="0">
                <a:hlinkClick r:id="rId2"/>
              </a:rPr>
              <a:t>https://www.python.org/downloads/</a:t>
            </a:r>
            <a:r>
              <a:rPr lang="en-US" dirty="0"/>
              <a:t>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F214A69-98B0-6CAA-5145-9380EADFFF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91916" y="2482809"/>
            <a:ext cx="8915400" cy="3829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604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yth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r, install </a:t>
            </a:r>
            <a:r>
              <a:rPr lang="en-US" b="1" dirty="0"/>
              <a:t>Anaconda</a:t>
            </a:r>
            <a:r>
              <a:rPr lang="en-US" dirty="0"/>
              <a:t> with </a:t>
            </a:r>
            <a:r>
              <a:rPr lang="en-US" b="1" dirty="0"/>
              <a:t>Python included (</a:t>
            </a:r>
            <a:r>
              <a:rPr lang="en-US" dirty="0">
                <a:hlinkClick r:id="rId2"/>
              </a:rPr>
              <a:t>https://docs.anaconda.com/free/anaconda/install/</a:t>
            </a:r>
            <a:r>
              <a:rPr lang="en-US" b="1" dirty="0"/>
              <a:t>)</a:t>
            </a:r>
            <a:endParaRPr lang="en-US" dirty="0"/>
          </a:p>
          <a:p>
            <a:pPr lvl="1"/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C165F33-BDD8-DF96-2607-ABF292B321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4938" y="2883629"/>
            <a:ext cx="9902123" cy="3428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73562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ython environ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1040454" cy="4919421"/>
          </a:xfrm>
        </p:spPr>
        <p:txBody>
          <a:bodyPr>
            <a:normAutofit/>
          </a:bodyPr>
          <a:lstStyle/>
          <a:p>
            <a:r>
              <a:rPr lang="en-US" dirty="0"/>
              <a:t> Using  `</a:t>
            </a:r>
            <a:r>
              <a:rPr lang="en-US" b="1" dirty="0"/>
              <a:t> </a:t>
            </a:r>
            <a:r>
              <a:rPr lang="en-US" b="1" dirty="0" err="1"/>
              <a:t>venv</a:t>
            </a:r>
            <a:r>
              <a:rPr lang="en-US" b="1" dirty="0"/>
              <a:t> </a:t>
            </a:r>
            <a:r>
              <a:rPr lang="en-US" dirty="0"/>
              <a:t>`</a:t>
            </a:r>
            <a:r>
              <a:rPr lang="en-US" b="1" dirty="0"/>
              <a:t>, </a:t>
            </a:r>
            <a:r>
              <a:rPr lang="en-US" dirty="0"/>
              <a:t>a module included in Python 3.3 &amp; later versions 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604E929-70AC-FD53-B5D2-9C6C590C5D6C}"/>
              </a:ext>
            </a:extLst>
          </p:cNvPr>
          <p:cNvSpPr txBox="1"/>
          <p:nvPr/>
        </p:nvSpPr>
        <p:spPr>
          <a:xfrm>
            <a:off x="1233444" y="2355666"/>
            <a:ext cx="9725113" cy="424731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ECFC00"/>
                </a:solidFill>
                <a:latin typeface="Consolas" panose="020B0609020204030204" pitchFamily="49" charset="0"/>
              </a:rPr>
              <a:t># </a:t>
            </a:r>
            <a:r>
              <a:rPr lang="en-US" b="1" dirty="0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Create Python environment with `</a:t>
            </a:r>
            <a:r>
              <a:rPr lang="en-US" b="1" dirty="0" err="1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venv</a:t>
            </a:r>
            <a:r>
              <a:rPr lang="en-US" b="1" dirty="0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`</a:t>
            </a:r>
            <a:endParaRPr lang="en-US" b="0" dirty="0">
              <a:solidFill>
                <a:srgbClr val="ECFC00"/>
              </a:solidFill>
              <a:effectLst/>
              <a:latin typeface="Consolas" panose="020B0609020204030204" pitchFamily="49" charset="0"/>
            </a:endParaRPr>
          </a:p>
          <a:p>
            <a:r>
              <a:rPr lang="en-US" b="0" dirty="0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# Navigate into the project directory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cd path/to/your/project </a:t>
            </a:r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# Create Python environment, </a:t>
            </a:r>
            <a:r>
              <a:rPr lang="en-US" b="0" dirty="0" err="1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eg.</a:t>
            </a:r>
            <a:r>
              <a:rPr lang="en-US" b="0" dirty="0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 named ".</a:t>
            </a:r>
            <a:r>
              <a:rPr lang="en-US" b="0" dirty="0" err="1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myenv</a:t>
            </a:r>
            <a:r>
              <a:rPr lang="en-US" b="0" dirty="0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"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python -m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venv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.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yenv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b="0" dirty="0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# (For Linux, MacOS, you may need to use `python3` instead of `python`)</a:t>
            </a: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1" dirty="0">
                <a:solidFill>
                  <a:srgbClr val="ECFC00"/>
                </a:solidFill>
                <a:latin typeface="Consolas" panose="020B0609020204030204" pitchFamily="49" charset="0"/>
              </a:rPr>
              <a:t># Activate ".</a:t>
            </a:r>
            <a:r>
              <a:rPr lang="en-US" b="1" dirty="0" err="1">
                <a:solidFill>
                  <a:srgbClr val="ECFC00"/>
                </a:solidFill>
                <a:latin typeface="Consolas" panose="020B0609020204030204" pitchFamily="49" charset="0"/>
              </a:rPr>
              <a:t>myenv</a:t>
            </a:r>
            <a:r>
              <a:rPr lang="en-US" b="1" dirty="0">
                <a:solidFill>
                  <a:srgbClr val="ECFC00"/>
                </a:solidFill>
                <a:latin typeface="Consolas" panose="020B0609020204030204" pitchFamily="49" charset="0"/>
              </a:rPr>
              <a:t>" environment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.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yenv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\Scripts\activate </a:t>
            </a:r>
            <a:r>
              <a:rPr lang="en-US" b="0" dirty="0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# For Window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source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yenv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/bin/activate </a:t>
            </a:r>
            <a:r>
              <a:rPr lang="en-US" b="0" dirty="0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# For Linux, MacOS</a:t>
            </a:r>
          </a:p>
          <a:p>
            <a:endParaRPr lang="en-US" dirty="0">
              <a:solidFill>
                <a:srgbClr val="00B050"/>
              </a:solidFill>
              <a:latin typeface="Consolas" panose="020B0609020204030204" pitchFamily="49" charset="0"/>
            </a:endParaRPr>
          </a:p>
          <a:p>
            <a:r>
              <a:rPr lang="en-US" b="1" dirty="0">
                <a:solidFill>
                  <a:srgbClr val="ECFC00"/>
                </a:solidFill>
                <a:latin typeface="Consolas" panose="020B0609020204030204" pitchFamily="49" charset="0"/>
              </a:rPr>
              <a:t># Install required Python packages and start working. (Next slides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1" dirty="0">
                <a:solidFill>
                  <a:srgbClr val="ECFC00"/>
                </a:solidFill>
                <a:latin typeface="Consolas" panose="020B0609020204030204" pitchFamily="49" charset="0"/>
              </a:rPr>
              <a:t># Deactivate ".</a:t>
            </a:r>
            <a:r>
              <a:rPr lang="en-US" b="1" dirty="0" err="1">
                <a:solidFill>
                  <a:srgbClr val="ECFC00"/>
                </a:solidFill>
                <a:latin typeface="Consolas" panose="020B0609020204030204" pitchFamily="49" charset="0"/>
              </a:rPr>
              <a:t>myenv</a:t>
            </a:r>
            <a:r>
              <a:rPr lang="en-US" b="1" dirty="0">
                <a:solidFill>
                  <a:srgbClr val="ECFC00"/>
                </a:solidFill>
                <a:latin typeface="Consolas" panose="020B0609020204030204" pitchFamily="49" charset="0"/>
              </a:rPr>
              <a:t>" environment after finishing the dev</a:t>
            </a:r>
          </a:p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    deactiv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393669E-9A2D-125C-C84D-E9629D95D3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75708" y="4566088"/>
            <a:ext cx="3600450" cy="2286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DFD1917-5484-9CE1-06E4-9E666B61C4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75708" y="6306895"/>
            <a:ext cx="2981325" cy="19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4947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41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742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123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244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645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746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927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148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389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570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ython environ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919421"/>
          </a:xfrm>
        </p:spPr>
        <p:txBody>
          <a:bodyPr>
            <a:normAutofit/>
          </a:bodyPr>
          <a:lstStyle/>
          <a:p>
            <a:r>
              <a:rPr lang="en-US" dirty="0"/>
              <a:t> Using `</a:t>
            </a:r>
            <a:r>
              <a:rPr lang="en-US" dirty="0" err="1"/>
              <a:t>conda</a:t>
            </a:r>
            <a:r>
              <a:rPr lang="en-US" dirty="0"/>
              <a:t>`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EFDAF2E-0707-DAEC-A8C1-5FAEBB2FCC5B}"/>
              </a:ext>
            </a:extLst>
          </p:cNvPr>
          <p:cNvSpPr txBox="1"/>
          <p:nvPr/>
        </p:nvSpPr>
        <p:spPr>
          <a:xfrm>
            <a:off x="1504060" y="2606719"/>
            <a:ext cx="9183880" cy="286232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ECFC00"/>
                </a:solidFill>
                <a:latin typeface="Consolas" panose="020B0609020204030204" pitchFamily="49" charset="0"/>
              </a:rPr>
              <a:t># Create </a:t>
            </a:r>
            <a:r>
              <a:rPr lang="en-US" b="1" dirty="0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Python environment with `</a:t>
            </a:r>
            <a:r>
              <a:rPr lang="en-US" b="1" dirty="0" err="1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conda</a:t>
            </a:r>
            <a:r>
              <a:rPr lang="en-US" b="1" dirty="0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`, </a:t>
            </a:r>
            <a:r>
              <a:rPr lang="en-US" b="0" dirty="0" err="1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eg.</a:t>
            </a:r>
            <a:r>
              <a:rPr lang="en-US" b="0" dirty="0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 named "</a:t>
            </a:r>
            <a:r>
              <a:rPr lang="en-US" b="0" dirty="0" err="1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myenv</a:t>
            </a:r>
            <a:r>
              <a:rPr lang="en-US" b="0" dirty="0">
                <a:solidFill>
                  <a:srgbClr val="ECFC00"/>
                </a:solidFill>
                <a:effectLst/>
                <a:latin typeface="Consolas" panose="020B0609020204030204" pitchFamily="49" charset="0"/>
              </a:rPr>
              <a:t>"</a:t>
            </a: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da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create -n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yenv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python=3.10</a:t>
            </a: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1" dirty="0">
                <a:solidFill>
                  <a:srgbClr val="ECFC00"/>
                </a:solidFill>
                <a:latin typeface="Consolas" panose="020B0609020204030204" pitchFamily="49" charset="0"/>
              </a:rPr>
              <a:t># Activate "</a:t>
            </a:r>
            <a:r>
              <a:rPr lang="en-US" b="1" dirty="0" err="1">
                <a:solidFill>
                  <a:srgbClr val="ECFC00"/>
                </a:solidFill>
                <a:latin typeface="Consolas" panose="020B0609020204030204" pitchFamily="49" charset="0"/>
              </a:rPr>
              <a:t>myenv</a:t>
            </a:r>
            <a:r>
              <a:rPr lang="en-US" b="1" dirty="0">
                <a:solidFill>
                  <a:srgbClr val="ECFC00"/>
                </a:solidFill>
                <a:latin typeface="Consolas" panose="020B0609020204030204" pitchFamily="49" charset="0"/>
              </a:rPr>
              <a:t>" environment</a:t>
            </a: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da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activate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yenv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endParaRPr lang="en-US" dirty="0">
              <a:solidFill>
                <a:srgbClr val="FFFFFF"/>
              </a:solidFill>
              <a:latin typeface="Consolas" panose="020B0609020204030204" pitchFamily="49" charset="0"/>
            </a:endParaRPr>
          </a:p>
          <a:p>
            <a:r>
              <a:rPr lang="en-US" b="1" dirty="0">
                <a:solidFill>
                  <a:srgbClr val="ECFC00"/>
                </a:solidFill>
                <a:latin typeface="Consolas" panose="020B0609020204030204" pitchFamily="49" charset="0"/>
              </a:rPr>
              <a:t># Install required Python packages and start working. (Next slides)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  <a:p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1" dirty="0">
                <a:solidFill>
                  <a:srgbClr val="ECFC00"/>
                </a:solidFill>
                <a:latin typeface="Consolas" panose="020B0609020204030204" pitchFamily="49" charset="0"/>
              </a:rPr>
              <a:t># Deactivate "</a:t>
            </a:r>
            <a:r>
              <a:rPr lang="en-US" b="1" dirty="0" err="1">
                <a:solidFill>
                  <a:srgbClr val="ECFC00"/>
                </a:solidFill>
                <a:latin typeface="Consolas" panose="020B0609020204030204" pitchFamily="49" charset="0"/>
              </a:rPr>
              <a:t>myenv</a:t>
            </a:r>
            <a:r>
              <a:rPr lang="en-US" b="1" dirty="0">
                <a:solidFill>
                  <a:srgbClr val="ECFC00"/>
                </a:solidFill>
                <a:latin typeface="Consolas" panose="020B0609020204030204" pitchFamily="49" charset="0"/>
              </a:rPr>
              <a:t>" environment after finishing the dev</a:t>
            </a:r>
          </a:p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da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deactivat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F5F8A6E-99A8-577A-527A-B8046170E8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48043" y="3920828"/>
            <a:ext cx="3057525" cy="1905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2745D8A-E3FB-1B46-575B-6EAF3D6559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48043" y="5234937"/>
            <a:ext cx="2981325" cy="19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588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641"/>
                            </p:stCondLst>
                            <p:childTnLst>
                              <p:par>
                                <p:cTn id="19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742"/>
                            </p:stCondLst>
                            <p:childTnLst>
                              <p:par>
                                <p:cTn id="22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783"/>
                            </p:stCondLst>
                            <p:childTnLst>
                              <p:par>
                                <p:cTn id="25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24"/>
                            </p:stCondLst>
                            <p:childTnLst>
                              <p:par>
                                <p:cTn id="28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205"/>
                            </p:stCondLst>
                            <p:childTnLst>
                              <p:par>
                                <p:cTn id="31" presetID="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ython Package Install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5143500" cy="4919421"/>
          </a:xfrm>
        </p:spPr>
        <p:txBody>
          <a:bodyPr>
            <a:normAutofit/>
          </a:bodyPr>
          <a:lstStyle/>
          <a:p>
            <a:r>
              <a:rPr lang="en-US" dirty="0"/>
              <a:t> Activate Python environment </a:t>
            </a:r>
          </a:p>
          <a:p>
            <a:r>
              <a:rPr lang="en-US" dirty="0"/>
              <a:t> Using `pip` inside either </a:t>
            </a:r>
            <a:r>
              <a:rPr lang="en-US" dirty="0" err="1"/>
              <a:t>venv</a:t>
            </a:r>
            <a:r>
              <a:rPr lang="en-US" dirty="0"/>
              <a:t> or </a:t>
            </a:r>
            <a:r>
              <a:rPr lang="en-US" dirty="0" err="1"/>
              <a:t>conda</a:t>
            </a:r>
            <a:r>
              <a:rPr lang="en-US" dirty="0"/>
              <a:t> environment</a:t>
            </a:r>
          </a:p>
          <a:p>
            <a:pPr marL="0" indent="0">
              <a:buNone/>
            </a:pPr>
            <a:endParaRPr lang="en-US" dirty="0"/>
          </a:p>
          <a:p>
            <a:pPr lvl="1"/>
            <a:r>
              <a:rPr lang="en-US" dirty="0"/>
              <a:t> Installing a Python package</a:t>
            </a:r>
          </a:p>
          <a:p>
            <a:pPr marL="457200" lvl="1" indent="0">
              <a:buNone/>
            </a:pPr>
            <a:r>
              <a:rPr lang="en-US" dirty="0"/>
              <a:t>`</a:t>
            </a:r>
            <a:r>
              <a:rPr lang="en-US" b="1" dirty="0"/>
              <a:t>pip install </a:t>
            </a:r>
            <a:r>
              <a:rPr lang="en-US" b="1" dirty="0" err="1"/>
              <a:t>package_name</a:t>
            </a:r>
            <a:r>
              <a:rPr lang="en-US" b="1" dirty="0"/>
              <a:t>==version</a:t>
            </a:r>
            <a:r>
              <a:rPr lang="en-US" dirty="0"/>
              <a:t>`</a:t>
            </a:r>
          </a:p>
          <a:p>
            <a:pPr marL="457200" lvl="1" indent="0">
              <a:buNone/>
            </a:pPr>
            <a:r>
              <a:rPr lang="en-US" dirty="0"/>
              <a:t>E.g. `</a:t>
            </a:r>
            <a:r>
              <a:rPr lang="en-US" b="1" dirty="0"/>
              <a:t>pip install torch==2.3.0</a:t>
            </a:r>
            <a:r>
              <a:rPr lang="en-US" dirty="0"/>
              <a:t>`</a:t>
            </a:r>
          </a:p>
          <a:p>
            <a:pPr marL="457200" lvl="1" indent="0">
              <a:buNone/>
            </a:pPr>
            <a:endParaRPr lang="en-US" dirty="0"/>
          </a:p>
          <a:p>
            <a:pPr lvl="1"/>
            <a:r>
              <a:rPr lang="en-US" dirty="0"/>
              <a:t>  Installing all required packages in "requirements.txt"</a:t>
            </a:r>
          </a:p>
          <a:p>
            <a:pPr marL="457200" lvl="1" indent="0">
              <a:buNone/>
            </a:pPr>
            <a:r>
              <a:rPr lang="en-US" dirty="0"/>
              <a:t>`</a:t>
            </a:r>
            <a:r>
              <a:rPr lang="en-US" b="1" dirty="0"/>
              <a:t>pip install –r requirements.txt</a:t>
            </a:r>
            <a:r>
              <a:rPr lang="en-US" dirty="0"/>
              <a:t>`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457200" lvl="1" indent="0">
              <a:buNone/>
            </a:pP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B3A132E-DE6F-5274-A6F5-EAB19B5123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952625"/>
            <a:ext cx="5903448" cy="4321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7163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917530-29CA-230E-7DBB-E36674CCFE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 u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835EFD-6B72-16BE-135D-27DD69C1598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IDE: </a:t>
            </a:r>
          </a:p>
          <a:p>
            <a:pPr lvl="1"/>
            <a:r>
              <a:rPr lang="en-US" b="1" dirty="0"/>
              <a:t>VS Code</a:t>
            </a:r>
          </a:p>
          <a:p>
            <a:pPr lvl="1"/>
            <a:endParaRPr lang="en-US" b="1" dirty="0"/>
          </a:p>
          <a:p>
            <a:r>
              <a:rPr lang="en-US" dirty="0"/>
              <a:t>Terminal (Windows): </a:t>
            </a:r>
          </a:p>
          <a:p>
            <a:pPr lvl="1"/>
            <a:r>
              <a:rPr lang="en-US" b="1" dirty="0"/>
              <a:t>For window: PowerShell</a:t>
            </a:r>
          </a:p>
          <a:p>
            <a:pPr lvl="1"/>
            <a:r>
              <a:rPr lang="en-US" b="1" dirty="0"/>
              <a:t>For Linux: Terminal</a:t>
            </a:r>
          </a:p>
          <a:p>
            <a:pPr lvl="1"/>
            <a:r>
              <a:rPr lang="en-US" b="1" dirty="0"/>
              <a:t>For macOS: iTerm2</a:t>
            </a:r>
          </a:p>
          <a:p>
            <a:pPr lvl="1"/>
            <a:endParaRPr lang="en-US" b="1" dirty="0"/>
          </a:p>
          <a:p>
            <a:r>
              <a:rPr lang="en-US" dirty="0"/>
              <a:t> Install Python and create environment: </a:t>
            </a:r>
          </a:p>
          <a:p>
            <a:pPr lvl="1"/>
            <a:r>
              <a:rPr lang="en-US" b="1" dirty="0" err="1"/>
              <a:t>conda</a:t>
            </a:r>
            <a:r>
              <a:rPr lang="en-US" dirty="0"/>
              <a:t> (Anaconda)</a:t>
            </a:r>
          </a:p>
          <a:p>
            <a:pPr lvl="1"/>
            <a:endParaRPr lang="en-US" dirty="0"/>
          </a:p>
          <a:p>
            <a:r>
              <a:rPr lang="en-US" dirty="0"/>
              <a:t> Install Python packages: </a:t>
            </a:r>
          </a:p>
          <a:p>
            <a:pPr lvl="1"/>
            <a:r>
              <a:rPr lang="en-US" b="1" dirty="0"/>
              <a:t>pip</a:t>
            </a:r>
          </a:p>
        </p:txBody>
      </p:sp>
      <p:pic>
        <p:nvPicPr>
          <p:cNvPr id="5" name="Picture 8" descr="pypi · GitHub Topics · GitHub">
            <a:extLst>
              <a:ext uri="{FF2B5EF4-FFF2-40B4-BE49-F238E27FC236}">
                <a16:creationId xmlns:a16="http://schemas.microsoft.com/office/drawing/2014/main" id="{3EC9735F-1B68-BA48-4A60-401A68A22F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48" t="23374" r="20524" b="22999"/>
          <a:stretch/>
        </p:blipFill>
        <p:spPr bwMode="auto">
          <a:xfrm>
            <a:off x="2418206" y="5821340"/>
            <a:ext cx="705257" cy="610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0" descr="PowerShell - Wikipedia">
            <a:extLst>
              <a:ext uri="{FF2B5EF4-FFF2-40B4-BE49-F238E27FC236}">
                <a16:creationId xmlns:a16="http://schemas.microsoft.com/office/drawing/2014/main" id="{64B5473A-611F-B9A6-5707-DB51444A85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1426" y="3014110"/>
            <a:ext cx="489592" cy="489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4" descr="Visual Studio Code — Wikipédia">
            <a:extLst>
              <a:ext uri="{FF2B5EF4-FFF2-40B4-BE49-F238E27FC236}">
                <a16:creationId xmlns:a16="http://schemas.microsoft.com/office/drawing/2014/main" id="{FFE569FE-9144-A9BF-4B4D-F57632E9ED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1076" y="2027597"/>
            <a:ext cx="584775" cy="584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DE311A6B-CEE3-2475-A263-F847AC14B1FE}"/>
              </a:ext>
            </a:extLst>
          </p:cNvPr>
          <p:cNvGrpSpPr/>
          <p:nvPr/>
        </p:nvGrpSpPr>
        <p:grpSpPr>
          <a:xfrm>
            <a:off x="4107268" y="4814074"/>
            <a:ext cx="1406083" cy="480150"/>
            <a:chOff x="6883676" y="6100833"/>
            <a:chExt cx="1406083" cy="480150"/>
          </a:xfrm>
        </p:grpSpPr>
        <p:pic>
          <p:nvPicPr>
            <p:cNvPr id="10" name="Picture 9" descr="A blue and yellow snake logo&#10;&#10;Description automatically generated">
              <a:extLst>
                <a:ext uri="{FF2B5EF4-FFF2-40B4-BE49-F238E27FC236}">
                  <a16:creationId xmlns:a16="http://schemas.microsoft.com/office/drawing/2014/main" id="{A1ABEDCC-C031-999B-B064-3D0B9310D7E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3676" y="6100833"/>
              <a:ext cx="436313" cy="480150"/>
            </a:xfrm>
            <a:prstGeom prst="rect">
              <a:avLst/>
            </a:prstGeom>
          </p:spPr>
        </p:pic>
        <p:pic>
          <p:nvPicPr>
            <p:cNvPr id="11" name="Picture 4" descr="Anaconda (Python distribution) - Wikipedia">
              <a:extLst>
                <a:ext uri="{FF2B5EF4-FFF2-40B4-BE49-F238E27FC236}">
                  <a16:creationId xmlns:a16="http://schemas.microsoft.com/office/drawing/2014/main" id="{327A9AD8-DC49-9FAF-69A0-7B717B1447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3519" y="6100833"/>
              <a:ext cx="896240" cy="4453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AB3E3E6C-5362-7DC1-FD98-C44C83343ABB}"/>
              </a:ext>
            </a:extLst>
          </p:cNvPr>
          <p:cNvSpPr txBox="1"/>
          <p:nvPr/>
        </p:nvSpPr>
        <p:spPr>
          <a:xfrm>
            <a:off x="7282873" y="4647893"/>
            <a:ext cx="4401127" cy="64633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da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create -n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yenv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python=3.10</a:t>
            </a:r>
            <a:b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</a:b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conda</a:t>
            </a:r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 activate </a:t>
            </a:r>
            <a:r>
              <a:rPr lang="en-US" b="0" dirty="0" err="1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myenv</a:t>
            </a:r>
            <a:endParaRPr lang="en-US" b="0" dirty="0">
              <a:solidFill>
                <a:srgbClr val="FFFFFF"/>
              </a:solidFill>
              <a:effectLst/>
              <a:latin typeface="Consolas" panose="020B0609020204030204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5A30DF2-FA1A-2042-A50B-21C76B42F138}"/>
              </a:ext>
            </a:extLst>
          </p:cNvPr>
          <p:cNvSpPr txBox="1"/>
          <p:nvPr/>
        </p:nvSpPr>
        <p:spPr>
          <a:xfrm>
            <a:off x="7282872" y="5942568"/>
            <a:ext cx="4401127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0" dirty="0">
                <a:solidFill>
                  <a:srgbClr val="FFFFFF"/>
                </a:solidFill>
                <a:effectLst/>
                <a:latin typeface="Consolas" panose="020B0609020204030204" pitchFamily="49" charset="0"/>
              </a:rPr>
              <a:t>pip install –r requirements.txt</a:t>
            </a:r>
          </a:p>
        </p:txBody>
      </p:sp>
      <p:pic>
        <p:nvPicPr>
          <p:cNvPr id="14" name="Picture 12" descr="iTerm2 - Wikipedia">
            <a:extLst>
              <a:ext uri="{FF2B5EF4-FFF2-40B4-BE49-F238E27FC236}">
                <a16:creationId xmlns:a16="http://schemas.microsoft.com/office/drawing/2014/main" id="{4E5EE142-C07A-1DC8-3E59-1EDD837CFB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0306" y="3638639"/>
            <a:ext cx="505457" cy="505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Linux Terminal icon - SimpleCodeTips">
            <a:extLst>
              <a:ext uri="{FF2B5EF4-FFF2-40B4-BE49-F238E27FC236}">
                <a16:creationId xmlns:a16="http://schemas.microsoft.com/office/drawing/2014/main" id="{A49F04D2-70CB-4C05-B9F7-8695DF95A9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0299" y="3385637"/>
            <a:ext cx="460008" cy="460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91572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53AD96E6-67B2-02CD-F910-420EA60CD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1036300" cy="1325563"/>
          </a:xfrm>
        </p:spPr>
        <p:txBody>
          <a:bodyPr/>
          <a:lstStyle/>
          <a:p>
            <a:r>
              <a:rPr lang="en-US" dirty="0"/>
              <a:t>Software prerequisites for Python project</a:t>
            </a:r>
          </a:p>
        </p:txBody>
      </p:sp>
      <p:pic>
        <p:nvPicPr>
          <p:cNvPr id="5" name="Picture 4" descr="A blue and yellow snake logo&#10;&#10;Description automatically generated">
            <a:extLst>
              <a:ext uri="{FF2B5EF4-FFF2-40B4-BE49-F238E27FC236}">
                <a16:creationId xmlns:a16="http://schemas.microsoft.com/office/drawing/2014/main" id="{F66A0DBE-F9EE-71E1-EB03-2EAE299146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4971"/>
            <a:ext cx="341829" cy="376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54584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llipse 11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066941" y="1502005"/>
            <a:ext cx="830997" cy="830997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dirty="0">
                <a:solidFill>
                  <a:srgbClr val="FFFFFF"/>
                </a:solidFill>
              </a:rPr>
              <a:t>1.</a:t>
            </a:r>
          </a:p>
        </p:txBody>
      </p:sp>
      <p:sp>
        <p:nvSpPr>
          <p:cNvPr id="61" name="TextBox 12 - 1"/>
          <p:cNvSpPr txBox="1"/>
          <p:nvPr/>
        </p:nvSpPr>
        <p:spPr>
          <a:xfrm>
            <a:off x="2217446" y="1560558"/>
            <a:ext cx="23440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IDE</a:t>
            </a:r>
          </a:p>
          <a:p>
            <a:r>
              <a:rPr lang="en-US" sz="1600" dirty="0"/>
              <a:t>VS Code, PyCharm, …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53AD96E6-67B2-02CD-F910-420EA60CD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1036300" cy="1325563"/>
          </a:xfrm>
        </p:spPr>
        <p:txBody>
          <a:bodyPr/>
          <a:lstStyle/>
          <a:p>
            <a:r>
              <a:rPr lang="en-US" dirty="0"/>
              <a:t>Software prerequisites for Python project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F81A8F56-4434-0193-8FD5-4D9D1BDA9426}"/>
              </a:ext>
            </a:extLst>
          </p:cNvPr>
          <p:cNvGrpSpPr/>
          <p:nvPr/>
        </p:nvGrpSpPr>
        <p:grpSpPr>
          <a:xfrm>
            <a:off x="4576404" y="1487653"/>
            <a:ext cx="1428718" cy="644585"/>
            <a:chOff x="1433093" y="3872246"/>
            <a:chExt cx="1428718" cy="644585"/>
          </a:xfrm>
        </p:grpSpPr>
        <p:pic>
          <p:nvPicPr>
            <p:cNvPr id="1038" name="Picture 14" descr="Visual Studio Code — Wikipédia">
              <a:extLst>
                <a:ext uri="{FF2B5EF4-FFF2-40B4-BE49-F238E27FC236}">
                  <a16:creationId xmlns:a16="http://schemas.microsoft.com/office/drawing/2014/main" id="{5BBBCC26-6B78-3AA1-64EB-B1ED4A6FF6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3093" y="3873899"/>
              <a:ext cx="584775" cy="5847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0" name="Picture 16" descr="PyCharm — Wikipédia">
              <a:extLst>
                <a:ext uri="{FF2B5EF4-FFF2-40B4-BE49-F238E27FC236}">
                  <a16:creationId xmlns:a16="http://schemas.microsoft.com/office/drawing/2014/main" id="{A0C29F73-68C8-74AF-0932-67FAF4BC25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7226" y="3872246"/>
              <a:ext cx="644585" cy="6445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" name="Picture 4" descr="A blue and yellow snake logo&#10;&#10;Description automatically generated">
            <a:extLst>
              <a:ext uri="{FF2B5EF4-FFF2-40B4-BE49-F238E27FC236}">
                <a16:creationId xmlns:a16="http://schemas.microsoft.com/office/drawing/2014/main" id="{F66A0DBE-F9EE-71E1-EB03-2EAE2991460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4971"/>
            <a:ext cx="341829" cy="37617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209730F-33D7-DC69-B0C5-E7C304C96D70}"/>
              </a:ext>
            </a:extLst>
          </p:cNvPr>
          <p:cNvSpPr txBox="1"/>
          <p:nvPr/>
        </p:nvSpPr>
        <p:spPr>
          <a:xfrm>
            <a:off x="6571714" y="1781693"/>
            <a:ext cx="4953000" cy="3416320"/>
          </a:xfrm>
          <a:prstGeom prst="rect">
            <a:avLst/>
          </a:prstGeom>
          <a:noFill/>
          <a:ln w="9525">
            <a:solidFill>
              <a:srgbClr val="195979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Including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A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source code editor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B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uild automation tools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A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debugger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C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ode completion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S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yntax highlighting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V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ersion control integration, </a:t>
            </a:r>
            <a:r>
              <a:rPr lang="en-US" dirty="0" err="1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etc</a:t>
            </a:r>
            <a:endParaRPr lang="en-US" dirty="0">
              <a:solidFill>
                <a:srgbClr val="195979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A</a:t>
            </a: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llowing developers to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W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rite, compile, test, and debug their code within a single interfa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Popular ID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VS Code, PyCharm, Eclipse, </a:t>
            </a:r>
            <a:r>
              <a:rPr lang="en-US" dirty="0" err="1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etc</a:t>
            </a:r>
            <a:endParaRPr lang="en-US" dirty="0">
              <a:solidFill>
                <a:srgbClr val="195979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72426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llipse 10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066387" y="2601363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rgbClr val="FFFFFF"/>
                </a:solidFill>
              </a:rPr>
              <a:t>2.</a:t>
            </a:r>
            <a:endParaRPr lang="en-US" sz="2800" dirty="0">
              <a:solidFill>
                <a:srgbClr val="FFFFFF"/>
              </a:solidFill>
            </a:endParaRPr>
          </a:p>
        </p:txBody>
      </p:sp>
      <p:sp>
        <p:nvSpPr>
          <p:cNvPr id="12" name="Ellipse 11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1066941" y="1502005"/>
            <a:ext cx="830997" cy="830997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dirty="0">
                <a:solidFill>
                  <a:srgbClr val="FFFFFF"/>
                </a:solidFill>
              </a:rPr>
              <a:t>1.</a:t>
            </a:r>
          </a:p>
        </p:txBody>
      </p:sp>
      <p:sp>
        <p:nvSpPr>
          <p:cNvPr id="61" name="TextBox 12 - 1"/>
          <p:cNvSpPr txBox="1"/>
          <p:nvPr/>
        </p:nvSpPr>
        <p:spPr>
          <a:xfrm>
            <a:off x="2217446" y="1560558"/>
            <a:ext cx="23440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IDE</a:t>
            </a:r>
          </a:p>
          <a:p>
            <a:r>
              <a:rPr lang="en-US" sz="1600" dirty="0"/>
              <a:t>VS Code, PyCharm, …</a:t>
            </a:r>
          </a:p>
        </p:txBody>
      </p:sp>
      <p:sp>
        <p:nvSpPr>
          <p:cNvPr id="64" name="TextBox 12 - 1"/>
          <p:cNvSpPr txBox="1"/>
          <p:nvPr/>
        </p:nvSpPr>
        <p:spPr>
          <a:xfrm>
            <a:off x="2217446" y="2569684"/>
            <a:ext cx="24114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Terminal</a:t>
            </a:r>
          </a:p>
          <a:p>
            <a:r>
              <a:rPr lang="en-US" sz="1600" dirty="0"/>
              <a:t>PowerShell (Windows), iTerm2(Mac OS), …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53AD96E6-67B2-02CD-F910-420EA60CD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1036300" cy="1325563"/>
          </a:xfrm>
        </p:spPr>
        <p:txBody>
          <a:bodyPr/>
          <a:lstStyle/>
          <a:p>
            <a:r>
              <a:rPr lang="en-US" dirty="0"/>
              <a:t>Software prerequisites for Python project</a:t>
            </a:r>
          </a:p>
        </p:txBody>
      </p:sp>
      <p:pic>
        <p:nvPicPr>
          <p:cNvPr id="1034" name="Picture 10" descr="PowerShell - Wikipedia">
            <a:extLst>
              <a:ext uri="{FF2B5EF4-FFF2-40B4-BE49-F238E27FC236}">
                <a16:creationId xmlns:a16="http://schemas.microsoft.com/office/drawing/2014/main" id="{ED698740-F95A-7369-3664-EDA0F510E7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404" y="2670329"/>
            <a:ext cx="631839" cy="631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iTerm2 - Wikipedia">
            <a:extLst>
              <a:ext uri="{FF2B5EF4-FFF2-40B4-BE49-F238E27FC236}">
                <a16:creationId xmlns:a16="http://schemas.microsoft.com/office/drawing/2014/main" id="{5A09AD7C-F8E7-0B06-2709-DC9A941E1F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9947" y="2691090"/>
            <a:ext cx="611078" cy="611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id="{F81A8F56-4434-0193-8FD5-4D9D1BDA9426}"/>
              </a:ext>
            </a:extLst>
          </p:cNvPr>
          <p:cNvGrpSpPr/>
          <p:nvPr/>
        </p:nvGrpSpPr>
        <p:grpSpPr>
          <a:xfrm>
            <a:off x="4576404" y="1487653"/>
            <a:ext cx="1428718" cy="644585"/>
            <a:chOff x="1433093" y="3872246"/>
            <a:chExt cx="1428718" cy="644585"/>
          </a:xfrm>
        </p:grpSpPr>
        <p:pic>
          <p:nvPicPr>
            <p:cNvPr id="1038" name="Picture 14" descr="Visual Studio Code — Wikipédia">
              <a:extLst>
                <a:ext uri="{FF2B5EF4-FFF2-40B4-BE49-F238E27FC236}">
                  <a16:creationId xmlns:a16="http://schemas.microsoft.com/office/drawing/2014/main" id="{5BBBCC26-6B78-3AA1-64EB-B1ED4A6FF6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3093" y="3873899"/>
              <a:ext cx="584775" cy="5847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0" name="Picture 16" descr="PyCharm — Wikipédia">
              <a:extLst>
                <a:ext uri="{FF2B5EF4-FFF2-40B4-BE49-F238E27FC236}">
                  <a16:creationId xmlns:a16="http://schemas.microsoft.com/office/drawing/2014/main" id="{A0C29F73-68C8-74AF-0932-67FAF4BC25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7226" y="3872246"/>
              <a:ext cx="644585" cy="6445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" name="Picture 4" descr="A blue and yellow snake logo&#10;&#10;Description automatically generated">
            <a:extLst>
              <a:ext uri="{FF2B5EF4-FFF2-40B4-BE49-F238E27FC236}">
                <a16:creationId xmlns:a16="http://schemas.microsoft.com/office/drawing/2014/main" id="{F66A0DBE-F9EE-71E1-EB03-2EAE2991460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4971"/>
            <a:ext cx="341829" cy="37617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95525CC-3B2C-A998-90C1-7DBD91D9412F}"/>
              </a:ext>
            </a:extLst>
          </p:cNvPr>
          <p:cNvSpPr txBox="1"/>
          <p:nvPr/>
        </p:nvSpPr>
        <p:spPr>
          <a:xfrm>
            <a:off x="6666259" y="2670329"/>
            <a:ext cx="5208241" cy="2585323"/>
          </a:xfrm>
          <a:prstGeom prst="rect">
            <a:avLst/>
          </a:prstGeom>
          <a:noFill/>
          <a:ln>
            <a:solidFill>
              <a:srgbClr val="195979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Used fo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Command execution</a:t>
            </a:r>
            <a:endParaRPr lang="en-US" sz="1800" dirty="0">
              <a:solidFill>
                <a:srgbClr val="195979"/>
              </a:solidFill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F</a:t>
            </a: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ile manipulation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P</a:t>
            </a: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rogram execution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S</a:t>
            </a: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ystem administration tas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Popular terminal applicatio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Windows: Command Prompt, PowerShel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Linux: Bash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macOS: iTerm2</a:t>
            </a:r>
          </a:p>
        </p:txBody>
      </p:sp>
    </p:spTree>
    <p:extLst>
      <p:ext uri="{BB962C8B-B14F-4D97-AF65-F5344CB8AC3E}">
        <p14:creationId xmlns:p14="http://schemas.microsoft.com/office/powerpoint/2010/main" val="9380708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llipse 8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066387" y="3701828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FFFFFF"/>
                </a:solidFill>
                <a:latin typeface="Avenir Next LT Pro"/>
              </a:rPr>
              <a:t>3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1" name="Ellipse 10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1066387" y="2601363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rgbClr val="FFFFFF"/>
                </a:solidFill>
              </a:rPr>
              <a:t>2.</a:t>
            </a:r>
            <a:endParaRPr lang="en-US" sz="2800" dirty="0">
              <a:solidFill>
                <a:srgbClr val="FFFFFF"/>
              </a:solidFill>
            </a:endParaRPr>
          </a:p>
        </p:txBody>
      </p:sp>
      <p:sp>
        <p:nvSpPr>
          <p:cNvPr id="12" name="Ellipse 11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1066941" y="1502005"/>
            <a:ext cx="830997" cy="830997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dirty="0">
                <a:solidFill>
                  <a:srgbClr val="FFFFFF"/>
                </a:solidFill>
              </a:rPr>
              <a:t>1.</a:t>
            </a:r>
          </a:p>
        </p:txBody>
      </p:sp>
      <p:sp>
        <p:nvSpPr>
          <p:cNvPr id="61" name="TextBox 12 - 1"/>
          <p:cNvSpPr txBox="1"/>
          <p:nvPr/>
        </p:nvSpPr>
        <p:spPr>
          <a:xfrm>
            <a:off x="2217446" y="1560558"/>
            <a:ext cx="23440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IDE</a:t>
            </a:r>
          </a:p>
          <a:p>
            <a:r>
              <a:rPr lang="en-US" sz="1600" dirty="0"/>
              <a:t>VS Code, PyCharm, …</a:t>
            </a:r>
          </a:p>
        </p:txBody>
      </p:sp>
      <p:sp>
        <p:nvSpPr>
          <p:cNvPr id="64" name="TextBox 12 - 1"/>
          <p:cNvSpPr txBox="1"/>
          <p:nvPr/>
        </p:nvSpPr>
        <p:spPr>
          <a:xfrm>
            <a:off x="2217446" y="2569684"/>
            <a:ext cx="24114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Terminal</a:t>
            </a:r>
          </a:p>
          <a:p>
            <a:r>
              <a:rPr lang="en-US" sz="1600" dirty="0"/>
              <a:t>PowerShell (Windows), iTerm2(Mac OS), …</a:t>
            </a:r>
          </a:p>
        </p:txBody>
      </p:sp>
      <p:sp>
        <p:nvSpPr>
          <p:cNvPr id="65" name="TextBox 12"/>
          <p:cNvSpPr txBox="1"/>
          <p:nvPr/>
        </p:nvSpPr>
        <p:spPr>
          <a:xfrm>
            <a:off x="2217446" y="3804630"/>
            <a:ext cx="234402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Python</a:t>
            </a:r>
            <a:endParaRPr lang="en-US" sz="1600" dirty="0">
              <a:solidFill>
                <a:srgbClr val="002060"/>
              </a:solidFill>
            </a:endParaRPr>
          </a:p>
          <a:p>
            <a:r>
              <a:rPr lang="en-US" sz="1600" dirty="0"/>
              <a:t>Installing via: Python installer, Anaconda distributions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53AD96E6-67B2-02CD-F910-420EA60CD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1036300" cy="1325563"/>
          </a:xfrm>
        </p:spPr>
        <p:txBody>
          <a:bodyPr/>
          <a:lstStyle/>
          <a:p>
            <a:r>
              <a:rPr lang="en-US" dirty="0"/>
              <a:t>Software prerequisites for Python project</a:t>
            </a:r>
          </a:p>
        </p:txBody>
      </p:sp>
      <p:pic>
        <p:nvPicPr>
          <p:cNvPr id="1034" name="Picture 10" descr="PowerShell - Wikipedia">
            <a:extLst>
              <a:ext uri="{FF2B5EF4-FFF2-40B4-BE49-F238E27FC236}">
                <a16:creationId xmlns:a16="http://schemas.microsoft.com/office/drawing/2014/main" id="{ED698740-F95A-7369-3664-EDA0F510E7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404" y="2670329"/>
            <a:ext cx="631839" cy="631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iTerm2 - Wikipedia">
            <a:extLst>
              <a:ext uri="{FF2B5EF4-FFF2-40B4-BE49-F238E27FC236}">
                <a16:creationId xmlns:a16="http://schemas.microsoft.com/office/drawing/2014/main" id="{5A09AD7C-F8E7-0B06-2709-DC9A941E1F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9947" y="2691090"/>
            <a:ext cx="611078" cy="611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id="{F81A8F56-4434-0193-8FD5-4D9D1BDA9426}"/>
              </a:ext>
            </a:extLst>
          </p:cNvPr>
          <p:cNvGrpSpPr/>
          <p:nvPr/>
        </p:nvGrpSpPr>
        <p:grpSpPr>
          <a:xfrm>
            <a:off x="4576404" y="1487653"/>
            <a:ext cx="1428718" cy="644585"/>
            <a:chOff x="1433093" y="3872246"/>
            <a:chExt cx="1428718" cy="644585"/>
          </a:xfrm>
        </p:grpSpPr>
        <p:pic>
          <p:nvPicPr>
            <p:cNvPr id="1038" name="Picture 14" descr="Visual Studio Code — Wikipédia">
              <a:extLst>
                <a:ext uri="{FF2B5EF4-FFF2-40B4-BE49-F238E27FC236}">
                  <a16:creationId xmlns:a16="http://schemas.microsoft.com/office/drawing/2014/main" id="{5BBBCC26-6B78-3AA1-64EB-B1ED4A6FF6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3093" y="3873899"/>
              <a:ext cx="584775" cy="5847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0" name="Picture 16" descr="PyCharm — Wikipédia">
              <a:extLst>
                <a:ext uri="{FF2B5EF4-FFF2-40B4-BE49-F238E27FC236}">
                  <a16:creationId xmlns:a16="http://schemas.microsoft.com/office/drawing/2014/main" id="{A0C29F73-68C8-74AF-0932-67FAF4BC25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7226" y="3872246"/>
              <a:ext cx="644585" cy="6445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" name="Picture 4" descr="A blue and yellow snake logo&#10;&#10;Description automatically generated">
            <a:extLst>
              <a:ext uri="{FF2B5EF4-FFF2-40B4-BE49-F238E27FC236}">
                <a16:creationId xmlns:a16="http://schemas.microsoft.com/office/drawing/2014/main" id="{F66A0DBE-F9EE-71E1-EB03-2EAE2991460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4971"/>
            <a:ext cx="341829" cy="37617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8A4D6A3-9B01-9485-EB12-E6598437E704}"/>
              </a:ext>
            </a:extLst>
          </p:cNvPr>
          <p:cNvSpPr txBox="1"/>
          <p:nvPr/>
        </p:nvSpPr>
        <p:spPr>
          <a:xfrm>
            <a:off x="6666259" y="2984611"/>
            <a:ext cx="5208241" cy="3693319"/>
          </a:xfrm>
          <a:prstGeom prst="rect">
            <a:avLst/>
          </a:prstGeom>
          <a:noFill/>
          <a:ln>
            <a:solidFill>
              <a:srgbClr val="195979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Created by Guido van Rossum and first released in 1991</a:t>
            </a:r>
            <a:endParaRPr lang="en-US" dirty="0">
              <a:solidFill>
                <a:srgbClr val="195979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A high-level, interpreted programming languag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S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implicity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R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eadabilit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S</a:t>
            </a: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upports multiple programming paradigm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P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rocedural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O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bject-oriented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F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unctional programming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E</a:t>
            </a: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xtensive standard librar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A</a:t>
            </a: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ctive community contribute to a vast ecosystem of frameworks and tools</a:t>
            </a:r>
            <a:endParaRPr lang="en-US" dirty="0">
              <a:solidFill>
                <a:srgbClr val="195979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33E1A98-4AAB-8A0F-9E4D-5A2B6008A80F}"/>
              </a:ext>
            </a:extLst>
          </p:cNvPr>
          <p:cNvGrpSpPr/>
          <p:nvPr/>
        </p:nvGrpSpPr>
        <p:grpSpPr>
          <a:xfrm>
            <a:off x="4576404" y="3898416"/>
            <a:ext cx="1406083" cy="480150"/>
            <a:chOff x="6883676" y="6100833"/>
            <a:chExt cx="1406083" cy="480150"/>
          </a:xfrm>
        </p:grpSpPr>
        <p:pic>
          <p:nvPicPr>
            <p:cNvPr id="7" name="Picture 6" descr="A blue and yellow snake logo&#10;&#10;Description automatically generated">
              <a:extLst>
                <a:ext uri="{FF2B5EF4-FFF2-40B4-BE49-F238E27FC236}">
                  <a16:creationId xmlns:a16="http://schemas.microsoft.com/office/drawing/2014/main" id="{8E1472CD-A078-9FDE-EB71-A521B1248CC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3676" y="6100833"/>
              <a:ext cx="436313" cy="480150"/>
            </a:xfrm>
            <a:prstGeom prst="rect">
              <a:avLst/>
            </a:prstGeom>
          </p:spPr>
        </p:pic>
        <p:pic>
          <p:nvPicPr>
            <p:cNvPr id="10" name="Picture 4" descr="Anaconda (Python distribution) - Wikipedia">
              <a:extLst>
                <a:ext uri="{FF2B5EF4-FFF2-40B4-BE49-F238E27FC236}">
                  <a16:creationId xmlns:a16="http://schemas.microsoft.com/office/drawing/2014/main" id="{43759035-1D2D-913A-EFF7-864EF68442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3519" y="6100833"/>
              <a:ext cx="896240" cy="4453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8198663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llipse 7 - 1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066387" y="4802293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FFFFFF"/>
                </a:solidFill>
                <a:latin typeface="Avenir Next LT Pro"/>
              </a:rPr>
              <a:t>4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9" name="Ellipse 8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1066387" y="3701828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FFFFFF"/>
                </a:solidFill>
                <a:latin typeface="Avenir Next LT Pro"/>
              </a:rPr>
              <a:t>3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1" name="Ellipse 10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1066387" y="2601363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rgbClr val="FFFFFF"/>
                </a:solidFill>
              </a:rPr>
              <a:t>2.</a:t>
            </a:r>
            <a:endParaRPr lang="en-US" sz="2800" dirty="0">
              <a:solidFill>
                <a:srgbClr val="FFFFFF"/>
              </a:solidFill>
            </a:endParaRPr>
          </a:p>
        </p:txBody>
      </p:sp>
      <p:sp>
        <p:nvSpPr>
          <p:cNvPr id="12" name="Ellipse 11"/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1066941" y="1502005"/>
            <a:ext cx="830997" cy="830997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dirty="0">
                <a:solidFill>
                  <a:srgbClr val="FFFFFF"/>
                </a:solidFill>
              </a:rPr>
              <a:t>1.</a:t>
            </a:r>
          </a:p>
        </p:txBody>
      </p:sp>
      <p:sp>
        <p:nvSpPr>
          <p:cNvPr id="61" name="TextBox 12 - 1"/>
          <p:cNvSpPr txBox="1"/>
          <p:nvPr/>
        </p:nvSpPr>
        <p:spPr>
          <a:xfrm>
            <a:off x="2217446" y="1560558"/>
            <a:ext cx="23440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IDE</a:t>
            </a:r>
          </a:p>
          <a:p>
            <a:r>
              <a:rPr lang="en-US" sz="1600" dirty="0"/>
              <a:t>VS Code, PyCharm, …</a:t>
            </a:r>
          </a:p>
        </p:txBody>
      </p:sp>
      <p:sp>
        <p:nvSpPr>
          <p:cNvPr id="63" name="TextBox 12"/>
          <p:cNvSpPr txBox="1"/>
          <p:nvPr/>
        </p:nvSpPr>
        <p:spPr>
          <a:xfrm>
            <a:off x="2217446" y="5061507"/>
            <a:ext cx="25601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Python environment    </a:t>
            </a:r>
          </a:p>
          <a:p>
            <a:r>
              <a:rPr lang="en-US" sz="1600" dirty="0"/>
              <a:t>`</a:t>
            </a:r>
            <a:r>
              <a:rPr lang="en-US" sz="1600" dirty="0" err="1"/>
              <a:t>venv</a:t>
            </a:r>
            <a:r>
              <a:rPr lang="en-US" sz="1600" dirty="0"/>
              <a:t> `, `</a:t>
            </a:r>
            <a:r>
              <a:rPr lang="en-US" sz="1600" dirty="0" err="1"/>
              <a:t>conda</a:t>
            </a:r>
            <a:r>
              <a:rPr lang="en-US" sz="1600" dirty="0"/>
              <a:t>`</a:t>
            </a:r>
          </a:p>
        </p:txBody>
      </p:sp>
      <p:sp>
        <p:nvSpPr>
          <p:cNvPr id="64" name="TextBox 12 - 1"/>
          <p:cNvSpPr txBox="1"/>
          <p:nvPr/>
        </p:nvSpPr>
        <p:spPr>
          <a:xfrm>
            <a:off x="2217446" y="2569684"/>
            <a:ext cx="24114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Terminal</a:t>
            </a:r>
          </a:p>
          <a:p>
            <a:r>
              <a:rPr lang="en-US" sz="1600" dirty="0"/>
              <a:t>PowerShell (Windows), iTerm2(Mac OS), …</a:t>
            </a:r>
          </a:p>
        </p:txBody>
      </p:sp>
      <p:sp>
        <p:nvSpPr>
          <p:cNvPr id="65" name="TextBox 12"/>
          <p:cNvSpPr txBox="1"/>
          <p:nvPr/>
        </p:nvSpPr>
        <p:spPr>
          <a:xfrm>
            <a:off x="2217446" y="3804630"/>
            <a:ext cx="228542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Python</a:t>
            </a:r>
            <a:endParaRPr lang="en-US" sz="1600" dirty="0">
              <a:solidFill>
                <a:srgbClr val="002060"/>
              </a:solidFill>
            </a:endParaRPr>
          </a:p>
          <a:p>
            <a:r>
              <a:rPr lang="en-US" sz="1600" dirty="0"/>
              <a:t>Installing via: Python installer, Anaconda distributions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53AD96E6-67B2-02CD-F910-420EA60CD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1036300" cy="1325563"/>
          </a:xfrm>
        </p:spPr>
        <p:txBody>
          <a:bodyPr/>
          <a:lstStyle/>
          <a:p>
            <a:r>
              <a:rPr lang="en-US" dirty="0"/>
              <a:t>Software prerequisites for Python project</a:t>
            </a:r>
          </a:p>
        </p:txBody>
      </p:sp>
      <p:pic>
        <p:nvPicPr>
          <p:cNvPr id="1034" name="Picture 10" descr="PowerShell - Wikipedia">
            <a:extLst>
              <a:ext uri="{FF2B5EF4-FFF2-40B4-BE49-F238E27FC236}">
                <a16:creationId xmlns:a16="http://schemas.microsoft.com/office/drawing/2014/main" id="{ED698740-F95A-7369-3664-EDA0F510E7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404" y="2670329"/>
            <a:ext cx="631839" cy="631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iTerm2 - Wikipedia">
            <a:extLst>
              <a:ext uri="{FF2B5EF4-FFF2-40B4-BE49-F238E27FC236}">
                <a16:creationId xmlns:a16="http://schemas.microsoft.com/office/drawing/2014/main" id="{5A09AD7C-F8E7-0B06-2709-DC9A941E1F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9947" y="2691090"/>
            <a:ext cx="611078" cy="611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id="{F81A8F56-4434-0193-8FD5-4D9D1BDA9426}"/>
              </a:ext>
            </a:extLst>
          </p:cNvPr>
          <p:cNvGrpSpPr/>
          <p:nvPr/>
        </p:nvGrpSpPr>
        <p:grpSpPr>
          <a:xfrm>
            <a:off x="4576404" y="1487653"/>
            <a:ext cx="1428718" cy="644585"/>
            <a:chOff x="1433093" y="3872246"/>
            <a:chExt cx="1428718" cy="644585"/>
          </a:xfrm>
        </p:grpSpPr>
        <p:pic>
          <p:nvPicPr>
            <p:cNvPr id="1038" name="Picture 14" descr="Visual Studio Code — Wikipédia">
              <a:extLst>
                <a:ext uri="{FF2B5EF4-FFF2-40B4-BE49-F238E27FC236}">
                  <a16:creationId xmlns:a16="http://schemas.microsoft.com/office/drawing/2014/main" id="{5BBBCC26-6B78-3AA1-64EB-B1ED4A6FF6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3093" y="3873899"/>
              <a:ext cx="584775" cy="5847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0" name="Picture 16" descr="PyCharm — Wikipédia">
              <a:extLst>
                <a:ext uri="{FF2B5EF4-FFF2-40B4-BE49-F238E27FC236}">
                  <a16:creationId xmlns:a16="http://schemas.microsoft.com/office/drawing/2014/main" id="{A0C29F73-68C8-74AF-0932-67FAF4BC25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7226" y="3872246"/>
              <a:ext cx="644585" cy="6445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" name="Picture 4" descr="A blue and yellow snake logo&#10;&#10;Description automatically generated">
            <a:extLst>
              <a:ext uri="{FF2B5EF4-FFF2-40B4-BE49-F238E27FC236}">
                <a16:creationId xmlns:a16="http://schemas.microsoft.com/office/drawing/2014/main" id="{F66A0DBE-F9EE-71E1-EB03-2EAE2991460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4971"/>
            <a:ext cx="341829" cy="376173"/>
          </a:xfrm>
          <a:prstGeom prst="rect">
            <a:avLst/>
          </a:prstGeom>
        </p:spPr>
      </p:pic>
      <p:grpSp>
        <p:nvGrpSpPr>
          <p:cNvPr id="74" name="Group 73">
            <a:extLst>
              <a:ext uri="{FF2B5EF4-FFF2-40B4-BE49-F238E27FC236}">
                <a16:creationId xmlns:a16="http://schemas.microsoft.com/office/drawing/2014/main" id="{D8B86446-0342-94E1-09E9-EF31A426921C}"/>
              </a:ext>
            </a:extLst>
          </p:cNvPr>
          <p:cNvGrpSpPr/>
          <p:nvPr/>
        </p:nvGrpSpPr>
        <p:grpSpPr>
          <a:xfrm>
            <a:off x="4576404" y="5113819"/>
            <a:ext cx="1406083" cy="480150"/>
            <a:chOff x="6883676" y="6100833"/>
            <a:chExt cx="1406083" cy="480150"/>
          </a:xfrm>
        </p:grpSpPr>
        <p:pic>
          <p:nvPicPr>
            <p:cNvPr id="75" name="Picture 74" descr="A blue and yellow snake logo&#10;&#10;Description automatically generated">
              <a:extLst>
                <a:ext uri="{FF2B5EF4-FFF2-40B4-BE49-F238E27FC236}">
                  <a16:creationId xmlns:a16="http://schemas.microsoft.com/office/drawing/2014/main" id="{D56334ED-18CE-81CF-0696-CD84CA8C7BF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3676" y="6100833"/>
              <a:ext cx="436313" cy="480150"/>
            </a:xfrm>
            <a:prstGeom prst="rect">
              <a:avLst/>
            </a:prstGeom>
          </p:spPr>
        </p:pic>
        <p:pic>
          <p:nvPicPr>
            <p:cNvPr id="76" name="Picture 4" descr="Anaconda (Python distribution) - Wikipedia">
              <a:extLst>
                <a:ext uri="{FF2B5EF4-FFF2-40B4-BE49-F238E27FC236}">
                  <a16:creationId xmlns:a16="http://schemas.microsoft.com/office/drawing/2014/main" id="{05288544-8781-E65F-E38D-9368F8BC04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3519" y="6100833"/>
              <a:ext cx="896240" cy="4453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3CF5E3B2-60ED-83F1-03F4-6D90CC61087D}"/>
              </a:ext>
            </a:extLst>
          </p:cNvPr>
          <p:cNvSpPr txBox="1"/>
          <p:nvPr/>
        </p:nvSpPr>
        <p:spPr>
          <a:xfrm>
            <a:off x="6666259" y="3879923"/>
            <a:ext cx="5208241" cy="2862322"/>
          </a:xfrm>
          <a:prstGeom prst="rect">
            <a:avLst/>
          </a:prstGeom>
          <a:noFill/>
          <a:ln>
            <a:solidFill>
              <a:srgbClr val="195979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A</a:t>
            </a: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setup where 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Python and its related tools and libraries are installed and configured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T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o develop and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R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un Python applic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Popular ways to create Python environ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Virtual </a:t>
            </a: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Environment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Using </a:t>
            </a:r>
            <a:r>
              <a:rPr lang="en-US" dirty="0" err="1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venv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or </a:t>
            </a:r>
            <a:r>
              <a:rPr lang="en-US" dirty="0" err="1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virtualenv</a:t>
            </a:r>
            <a:endParaRPr lang="en-US" dirty="0">
              <a:solidFill>
                <a:srgbClr val="195979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Conda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Environment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Using </a:t>
            </a:r>
            <a:r>
              <a:rPr lang="en-US" dirty="0" err="1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conda</a:t>
            </a:r>
            <a:endParaRPr lang="en-US" dirty="0">
              <a:solidFill>
                <a:srgbClr val="195979"/>
              </a:solidFill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IDE tools like PyCharm, VS Cod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CE0C117-A4CF-F1B4-F35C-50DF6E1A72B0}"/>
              </a:ext>
            </a:extLst>
          </p:cNvPr>
          <p:cNvGrpSpPr/>
          <p:nvPr/>
        </p:nvGrpSpPr>
        <p:grpSpPr>
          <a:xfrm>
            <a:off x="4576404" y="3898416"/>
            <a:ext cx="1406083" cy="480150"/>
            <a:chOff x="6883676" y="6100833"/>
            <a:chExt cx="1406083" cy="480150"/>
          </a:xfrm>
        </p:grpSpPr>
        <p:pic>
          <p:nvPicPr>
            <p:cNvPr id="4" name="Picture 3" descr="A blue and yellow snake logo&#10;&#10;Description automatically generated">
              <a:extLst>
                <a:ext uri="{FF2B5EF4-FFF2-40B4-BE49-F238E27FC236}">
                  <a16:creationId xmlns:a16="http://schemas.microsoft.com/office/drawing/2014/main" id="{4557E3CB-DA3A-0CB5-067A-65F5B6336AA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3676" y="6100833"/>
              <a:ext cx="436313" cy="480150"/>
            </a:xfrm>
            <a:prstGeom prst="rect">
              <a:avLst/>
            </a:prstGeom>
          </p:spPr>
        </p:pic>
        <p:pic>
          <p:nvPicPr>
            <p:cNvPr id="6" name="Picture 4" descr="Anaconda (Python distribution) - Wikipedia">
              <a:extLst>
                <a:ext uri="{FF2B5EF4-FFF2-40B4-BE49-F238E27FC236}">
                  <a16:creationId xmlns:a16="http://schemas.microsoft.com/office/drawing/2014/main" id="{B9A09665-7E6F-020F-0AC9-B81CE954CB6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3519" y="6100833"/>
              <a:ext cx="896240" cy="4453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2798575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llipse 7 - 1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066387" y="4802293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FFFFFF"/>
                </a:solidFill>
                <a:latin typeface="Avenir Next LT Pro"/>
              </a:rPr>
              <a:t>4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9" name="Ellipse 8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1066387" y="3701828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FFFFFF"/>
                </a:solidFill>
                <a:latin typeface="Avenir Next LT Pro"/>
              </a:rPr>
              <a:t>3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1" name="Ellipse 10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1066387" y="2601363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rgbClr val="FFFFFF"/>
                </a:solidFill>
              </a:rPr>
              <a:t>2.</a:t>
            </a:r>
            <a:endParaRPr lang="en-US" sz="2800" dirty="0">
              <a:solidFill>
                <a:srgbClr val="FFFFFF"/>
              </a:solidFill>
            </a:endParaRPr>
          </a:p>
        </p:txBody>
      </p:sp>
      <p:sp>
        <p:nvSpPr>
          <p:cNvPr id="12" name="Ellipse 11"/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1066941" y="1502005"/>
            <a:ext cx="830997" cy="830997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dirty="0">
                <a:solidFill>
                  <a:srgbClr val="FFFFFF"/>
                </a:solidFill>
              </a:rPr>
              <a:t>1.</a:t>
            </a:r>
          </a:p>
        </p:txBody>
      </p:sp>
      <p:sp>
        <p:nvSpPr>
          <p:cNvPr id="61" name="TextBox 12 - 1"/>
          <p:cNvSpPr txBox="1"/>
          <p:nvPr/>
        </p:nvSpPr>
        <p:spPr>
          <a:xfrm>
            <a:off x="2217446" y="1560558"/>
            <a:ext cx="23440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IDE</a:t>
            </a:r>
          </a:p>
          <a:p>
            <a:r>
              <a:rPr lang="en-US" sz="1600" dirty="0"/>
              <a:t>VS Code, PyCharm, …</a:t>
            </a:r>
          </a:p>
        </p:txBody>
      </p:sp>
      <p:sp>
        <p:nvSpPr>
          <p:cNvPr id="63" name="TextBox 12"/>
          <p:cNvSpPr txBox="1"/>
          <p:nvPr/>
        </p:nvSpPr>
        <p:spPr>
          <a:xfrm>
            <a:off x="2217446" y="5061507"/>
            <a:ext cx="25601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Python environment    </a:t>
            </a:r>
          </a:p>
          <a:p>
            <a:r>
              <a:rPr lang="en-US" sz="1600" dirty="0"/>
              <a:t>`</a:t>
            </a:r>
            <a:r>
              <a:rPr lang="en-US" sz="1600" dirty="0" err="1"/>
              <a:t>venv</a:t>
            </a:r>
            <a:r>
              <a:rPr lang="en-US" sz="1600" dirty="0"/>
              <a:t> `, `</a:t>
            </a:r>
            <a:r>
              <a:rPr lang="en-US" sz="1600" dirty="0" err="1"/>
              <a:t>conda</a:t>
            </a:r>
            <a:r>
              <a:rPr lang="en-US" sz="1600" dirty="0"/>
              <a:t>`</a:t>
            </a:r>
          </a:p>
        </p:txBody>
      </p:sp>
      <p:sp>
        <p:nvSpPr>
          <p:cNvPr id="64" name="TextBox 12 - 1"/>
          <p:cNvSpPr txBox="1"/>
          <p:nvPr/>
        </p:nvSpPr>
        <p:spPr>
          <a:xfrm>
            <a:off x="2217446" y="2569684"/>
            <a:ext cx="24114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Terminal</a:t>
            </a:r>
          </a:p>
          <a:p>
            <a:r>
              <a:rPr lang="en-US" sz="1600" dirty="0"/>
              <a:t>PowerShell (Windows), iTerm2(Mac OS), …</a:t>
            </a:r>
          </a:p>
        </p:txBody>
      </p:sp>
      <p:sp>
        <p:nvSpPr>
          <p:cNvPr id="65" name="TextBox 12"/>
          <p:cNvSpPr txBox="1"/>
          <p:nvPr/>
        </p:nvSpPr>
        <p:spPr>
          <a:xfrm>
            <a:off x="2217446" y="3804630"/>
            <a:ext cx="228542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Python</a:t>
            </a:r>
            <a:endParaRPr lang="en-US" sz="1600" dirty="0">
              <a:solidFill>
                <a:srgbClr val="002060"/>
              </a:solidFill>
            </a:endParaRPr>
          </a:p>
          <a:p>
            <a:r>
              <a:rPr lang="en-US" sz="1600" dirty="0"/>
              <a:t>Installing via: Python installer, Anaconda distributions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53AD96E6-67B2-02CD-F910-420EA60CD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1036300" cy="1325563"/>
          </a:xfrm>
        </p:spPr>
        <p:txBody>
          <a:bodyPr/>
          <a:lstStyle/>
          <a:p>
            <a:r>
              <a:rPr lang="en-US" dirty="0"/>
              <a:t>Software prerequisites for Python project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2775AC32-8D8A-AB23-A1EE-F452C4A95B34}"/>
              </a:ext>
            </a:extLst>
          </p:cNvPr>
          <p:cNvGrpSpPr/>
          <p:nvPr/>
        </p:nvGrpSpPr>
        <p:grpSpPr>
          <a:xfrm>
            <a:off x="4576404" y="3898416"/>
            <a:ext cx="1406083" cy="480150"/>
            <a:chOff x="6883676" y="6100833"/>
            <a:chExt cx="1406083" cy="480150"/>
          </a:xfrm>
        </p:grpSpPr>
        <p:pic>
          <p:nvPicPr>
            <p:cNvPr id="44" name="Picture 43" descr="A blue and yellow snake logo&#10;&#10;Description automatically generated">
              <a:extLst>
                <a:ext uri="{FF2B5EF4-FFF2-40B4-BE49-F238E27FC236}">
                  <a16:creationId xmlns:a16="http://schemas.microsoft.com/office/drawing/2014/main" id="{8D940B89-6DE8-599A-40EF-0206ED7CF9C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3676" y="6100833"/>
              <a:ext cx="436313" cy="480150"/>
            </a:xfrm>
            <a:prstGeom prst="rect">
              <a:avLst/>
            </a:prstGeom>
          </p:spPr>
        </p:pic>
        <p:pic>
          <p:nvPicPr>
            <p:cNvPr id="1028" name="Picture 4" descr="Anaconda (Python distribution) - Wikipedia">
              <a:extLst>
                <a:ext uri="{FF2B5EF4-FFF2-40B4-BE49-F238E27FC236}">
                  <a16:creationId xmlns:a16="http://schemas.microsoft.com/office/drawing/2014/main" id="{4C414619-1525-B3BC-741C-7EC17B7715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3519" y="6100833"/>
              <a:ext cx="896240" cy="4453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2" name="Picture 8" descr="pypi · GitHub Topics · GitHub">
            <a:extLst>
              <a:ext uri="{FF2B5EF4-FFF2-40B4-BE49-F238E27FC236}">
                <a16:creationId xmlns:a16="http://schemas.microsoft.com/office/drawing/2014/main" id="{D95AD47C-73D0-5019-7D25-D8864C038C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48" t="23374" r="20524" b="22999"/>
          <a:stretch/>
        </p:blipFill>
        <p:spPr bwMode="auto">
          <a:xfrm>
            <a:off x="4289209" y="5938835"/>
            <a:ext cx="705257" cy="610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" descr="Anaconda (Python distribution) - Wikipedia">
            <a:extLst>
              <a:ext uri="{FF2B5EF4-FFF2-40B4-BE49-F238E27FC236}">
                <a16:creationId xmlns:a16="http://schemas.microsoft.com/office/drawing/2014/main" id="{BAF3CC61-E0D9-60FB-4BA6-489BD0CAF8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6247" y="6028469"/>
            <a:ext cx="896240" cy="445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PowerShell - Wikipedia">
            <a:extLst>
              <a:ext uri="{FF2B5EF4-FFF2-40B4-BE49-F238E27FC236}">
                <a16:creationId xmlns:a16="http://schemas.microsoft.com/office/drawing/2014/main" id="{ED698740-F95A-7369-3664-EDA0F510E7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404" y="2670329"/>
            <a:ext cx="631839" cy="631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iTerm2 - Wikipedia">
            <a:extLst>
              <a:ext uri="{FF2B5EF4-FFF2-40B4-BE49-F238E27FC236}">
                <a16:creationId xmlns:a16="http://schemas.microsoft.com/office/drawing/2014/main" id="{5A09AD7C-F8E7-0B06-2709-DC9A941E1F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9947" y="2691090"/>
            <a:ext cx="611078" cy="611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Visual Studio Code — Wikipédia">
            <a:extLst>
              <a:ext uri="{FF2B5EF4-FFF2-40B4-BE49-F238E27FC236}">
                <a16:creationId xmlns:a16="http://schemas.microsoft.com/office/drawing/2014/main" id="{5BBBCC26-6B78-3AA1-64EB-B1ED4A6FF6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404" y="1489306"/>
            <a:ext cx="584775" cy="584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PyCharm — Wikipédia">
            <a:extLst>
              <a:ext uri="{FF2B5EF4-FFF2-40B4-BE49-F238E27FC236}">
                <a16:creationId xmlns:a16="http://schemas.microsoft.com/office/drawing/2014/main" id="{A0C29F73-68C8-74AF-0932-67FAF4BC25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0537" y="1487653"/>
            <a:ext cx="644585" cy="644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 blue and yellow snake logo&#10;&#10;Description automatically generated">
            <a:extLst>
              <a:ext uri="{FF2B5EF4-FFF2-40B4-BE49-F238E27FC236}">
                <a16:creationId xmlns:a16="http://schemas.microsoft.com/office/drawing/2014/main" id="{F66A0DBE-F9EE-71E1-EB03-2EAE2991460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4971"/>
            <a:ext cx="341829" cy="376173"/>
          </a:xfrm>
          <a:prstGeom prst="rect">
            <a:avLst/>
          </a:prstGeom>
        </p:spPr>
      </p:pic>
      <p:sp>
        <p:nvSpPr>
          <p:cNvPr id="72" name="Ellipse 7">
            <a:extLst>
              <a:ext uri="{FF2B5EF4-FFF2-40B4-BE49-F238E27FC236}">
                <a16:creationId xmlns:a16="http://schemas.microsoft.com/office/drawing/2014/main" id="{B8B2A071-9F3E-7C95-1E1E-13E8CBEC381C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1066387" y="5902758"/>
            <a:ext cx="832104" cy="832104"/>
          </a:xfrm>
          <a:prstGeom prst="ellipse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5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73" name="TextBox 12">
            <a:extLst>
              <a:ext uri="{FF2B5EF4-FFF2-40B4-BE49-F238E27FC236}">
                <a16:creationId xmlns:a16="http://schemas.microsoft.com/office/drawing/2014/main" id="{1E2024D6-6A89-7048-0E7D-7265520DA608}"/>
              </a:ext>
            </a:extLst>
          </p:cNvPr>
          <p:cNvSpPr txBox="1"/>
          <p:nvPr/>
        </p:nvSpPr>
        <p:spPr>
          <a:xfrm>
            <a:off x="2215148" y="6025996"/>
            <a:ext cx="25601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Python Packages  </a:t>
            </a:r>
          </a:p>
          <a:p>
            <a:r>
              <a:rPr lang="en-US" sz="1600" dirty="0" err="1"/>
              <a:t>Pypi</a:t>
            </a:r>
            <a:r>
              <a:rPr lang="en-US" sz="1600" dirty="0"/>
              <a:t>, Anaconda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D8B86446-0342-94E1-09E9-EF31A426921C}"/>
              </a:ext>
            </a:extLst>
          </p:cNvPr>
          <p:cNvGrpSpPr/>
          <p:nvPr/>
        </p:nvGrpSpPr>
        <p:grpSpPr>
          <a:xfrm>
            <a:off x="4576404" y="5113819"/>
            <a:ext cx="1406083" cy="480150"/>
            <a:chOff x="6883676" y="6100833"/>
            <a:chExt cx="1406083" cy="480150"/>
          </a:xfrm>
        </p:grpSpPr>
        <p:pic>
          <p:nvPicPr>
            <p:cNvPr id="75" name="Picture 74" descr="A blue and yellow snake logo&#10;&#10;Description automatically generated">
              <a:extLst>
                <a:ext uri="{FF2B5EF4-FFF2-40B4-BE49-F238E27FC236}">
                  <a16:creationId xmlns:a16="http://schemas.microsoft.com/office/drawing/2014/main" id="{D56334ED-18CE-81CF-0696-CD84CA8C7BF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3676" y="6100833"/>
              <a:ext cx="436313" cy="480150"/>
            </a:xfrm>
            <a:prstGeom prst="rect">
              <a:avLst/>
            </a:prstGeom>
          </p:spPr>
        </p:pic>
        <p:pic>
          <p:nvPicPr>
            <p:cNvPr id="76" name="Picture 4" descr="Anaconda (Python distribution) - Wikipedia">
              <a:extLst>
                <a:ext uri="{FF2B5EF4-FFF2-40B4-BE49-F238E27FC236}">
                  <a16:creationId xmlns:a16="http://schemas.microsoft.com/office/drawing/2014/main" id="{05288544-8781-E65F-E38D-9368F8BC04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3519" y="6100833"/>
              <a:ext cx="896240" cy="4453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391D7B7C-AA1E-E2B2-5DB9-A77B2E81BC32}"/>
              </a:ext>
            </a:extLst>
          </p:cNvPr>
          <p:cNvSpPr txBox="1"/>
          <p:nvPr/>
        </p:nvSpPr>
        <p:spPr>
          <a:xfrm>
            <a:off x="6849369" y="4343239"/>
            <a:ext cx="5208241" cy="2308324"/>
          </a:xfrm>
          <a:prstGeom prst="rect">
            <a:avLst/>
          </a:prstGeom>
          <a:noFill/>
          <a:ln>
            <a:solidFill>
              <a:srgbClr val="195979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C</a:t>
            </a:r>
            <a:r>
              <a:rPr lang="en-US" sz="1800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ollections of modules and functions that extend the capabilities of the Python programming languag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T</a:t>
            </a: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o reuse cod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To implement complex functionality without having to write it from scra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Python Package Manag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pip, </a:t>
            </a:r>
            <a:r>
              <a:rPr lang="en-US" dirty="0" err="1">
                <a:solidFill>
                  <a:srgbClr val="195979"/>
                </a:solidFill>
                <a:ea typeface="Aptos" panose="020B0004020202020204" pitchFamily="34" charset="0"/>
                <a:cs typeface="Times New Roman" panose="02020603050405020304" pitchFamily="18" charset="0"/>
              </a:rPr>
              <a:t>conda</a:t>
            </a:r>
            <a:endParaRPr lang="en-US" dirty="0">
              <a:solidFill>
                <a:srgbClr val="195979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6334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919421"/>
          </a:xfrm>
        </p:spPr>
        <p:txBody>
          <a:bodyPr>
            <a:normAutofit/>
          </a:bodyPr>
          <a:lstStyle/>
          <a:p>
            <a:r>
              <a:rPr lang="en-US" b="1" dirty="0"/>
              <a:t>VS Code (</a:t>
            </a:r>
            <a:r>
              <a:rPr lang="en-US" b="1" dirty="0">
                <a:hlinkClick r:id="rId2"/>
              </a:rPr>
              <a:t>https://code.visualstudio.com/download</a:t>
            </a:r>
            <a:r>
              <a:rPr lang="en-US" b="1" dirty="0"/>
              <a:t>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DBF059D-0948-4B50-CD90-E3694E81AB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45526" y="2440523"/>
            <a:ext cx="7675478" cy="3936849"/>
          </a:xfrm>
          <a:prstGeom prst="rect">
            <a:avLst/>
          </a:prstGeom>
        </p:spPr>
      </p:pic>
      <p:pic>
        <p:nvPicPr>
          <p:cNvPr id="2052" name="Picture 4" descr="Visual Studio Code - Code Editing. Redefined">
            <a:extLst>
              <a:ext uri="{FF2B5EF4-FFF2-40B4-BE49-F238E27FC236}">
                <a16:creationId xmlns:a16="http://schemas.microsoft.com/office/drawing/2014/main" id="{CDD89093-E484-4A54-D43A-C70E763D7C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789" y="3597441"/>
            <a:ext cx="5054534" cy="2527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2007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D478-8C57-ABE3-DC5E-39CFCF0F2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C1927-421E-EB40-3247-418367614E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4"/>
            <a:ext cx="11353801" cy="4919421"/>
          </a:xfrm>
        </p:spPr>
        <p:txBody>
          <a:bodyPr>
            <a:normAutofit/>
          </a:bodyPr>
          <a:lstStyle/>
          <a:p>
            <a:r>
              <a:rPr lang="en-US" b="1" dirty="0"/>
              <a:t>PyCharm</a:t>
            </a:r>
            <a:r>
              <a:rPr lang="en-US" dirty="0"/>
              <a:t> </a:t>
            </a:r>
            <a:r>
              <a:rPr lang="en-US" b="1" dirty="0"/>
              <a:t>(</a:t>
            </a:r>
            <a:r>
              <a:rPr lang="en-US" dirty="0">
                <a:hlinkClick r:id="rId2"/>
              </a:rPr>
              <a:t>https://www.jetbrains.com/pycharm/download/?section=windows</a:t>
            </a:r>
            <a:r>
              <a:rPr lang="en-US" b="1" dirty="0"/>
              <a:t>)</a:t>
            </a:r>
            <a:r>
              <a:rPr lang="en-US" dirty="0"/>
              <a:t>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D32A770-F8E1-6F9D-EB8C-1FADA8CF34C0}"/>
              </a:ext>
            </a:extLst>
          </p:cNvPr>
          <p:cNvGrpSpPr/>
          <p:nvPr/>
        </p:nvGrpSpPr>
        <p:grpSpPr>
          <a:xfrm>
            <a:off x="1118647" y="2939004"/>
            <a:ext cx="9954705" cy="3806041"/>
            <a:chOff x="1118647" y="2939004"/>
            <a:chExt cx="9954705" cy="3806041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C1C22F0-4A1C-384B-D824-481B3201E5E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18647" y="2939004"/>
              <a:ext cx="9954705" cy="1914633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3588CBA-28E1-2CFD-01C1-486F308E2E4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18647" y="5161889"/>
              <a:ext cx="3863172" cy="1583156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32A55026-A440-77AB-28BE-FEBB6C387CE1}"/>
              </a:ext>
            </a:extLst>
          </p:cNvPr>
          <p:cNvGrpSpPr/>
          <p:nvPr/>
        </p:nvGrpSpPr>
        <p:grpSpPr>
          <a:xfrm>
            <a:off x="6106579" y="4533303"/>
            <a:ext cx="4966773" cy="2211742"/>
            <a:chOff x="6106579" y="4533303"/>
            <a:chExt cx="4966773" cy="2211742"/>
          </a:xfrm>
        </p:grpSpPr>
        <p:pic>
          <p:nvPicPr>
            <p:cNvPr id="3074" name="Picture 2" descr="Download PyCharm: The Python IDE for data science and web development by  JetBrains">
              <a:extLst>
                <a:ext uri="{FF2B5EF4-FFF2-40B4-BE49-F238E27FC236}">
                  <a16:creationId xmlns:a16="http://schemas.microsoft.com/office/drawing/2014/main" id="{52E4A060-3861-579B-A763-D1FFF67EB84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78198" y="4533303"/>
              <a:ext cx="4195154" cy="22117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16" descr="PyCharm — Wikipédia">
              <a:extLst>
                <a:ext uri="{FF2B5EF4-FFF2-40B4-BE49-F238E27FC236}">
                  <a16:creationId xmlns:a16="http://schemas.microsoft.com/office/drawing/2014/main" id="{40A3E161-F3BE-B7E3-6E7F-18CC4E00AD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06579" y="4533303"/>
              <a:ext cx="644585" cy="6445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4925563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Avenir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emplate-qd-blue-simple" id="{A4FAF9F9-AE7C-46FD-B4D5-0E27E5E1F42F}" vid="{A861747D-0E20-4E7B-BBCA-2D7C86E298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-qd-blue-simple</Template>
  <TotalTime>7587</TotalTime>
  <Words>842</Words>
  <Application>Microsoft Office PowerPoint</Application>
  <PresentationFormat>Widescreen</PresentationFormat>
  <Paragraphs>174</Paragraphs>
  <Slides>17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5" baseType="lpstr">
      <vt:lpstr>Aptos</vt:lpstr>
      <vt:lpstr>Arial</vt:lpstr>
      <vt:lpstr>Avenir Next LT Pro</vt:lpstr>
      <vt:lpstr>Avenir Next LT Pro Light</vt:lpstr>
      <vt:lpstr>Calibri</vt:lpstr>
      <vt:lpstr>Consolas</vt:lpstr>
      <vt:lpstr>Wingdings</vt:lpstr>
      <vt:lpstr>Office Theme</vt:lpstr>
      <vt:lpstr>Part 1 – Software Prerequisites for Python project</vt:lpstr>
      <vt:lpstr>Software prerequisites for Python project</vt:lpstr>
      <vt:lpstr>Software prerequisites for Python project</vt:lpstr>
      <vt:lpstr>Software prerequisites for Python project</vt:lpstr>
      <vt:lpstr>Software prerequisites for Python project</vt:lpstr>
      <vt:lpstr>Software prerequisites for Python project</vt:lpstr>
      <vt:lpstr>Software prerequisites for Python project</vt:lpstr>
      <vt:lpstr>IDE</vt:lpstr>
      <vt:lpstr>IDE</vt:lpstr>
      <vt:lpstr>Terminal</vt:lpstr>
      <vt:lpstr>Terminal</vt:lpstr>
      <vt:lpstr>Python</vt:lpstr>
      <vt:lpstr>Python</vt:lpstr>
      <vt:lpstr>Python environment</vt:lpstr>
      <vt:lpstr>Python environment</vt:lpstr>
      <vt:lpstr>Python Package Installation</vt:lpstr>
      <vt:lpstr>What I us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lementing Transformer with  Python &amp; PyTorch   </dc:title>
  <dc:creator>Tan Nguyen Duong</dc:creator>
  <cp:lastModifiedBy>Quang DUONG</cp:lastModifiedBy>
  <cp:revision>99</cp:revision>
  <dcterms:created xsi:type="dcterms:W3CDTF">2024-02-20T20:54:33Z</dcterms:created>
  <dcterms:modified xsi:type="dcterms:W3CDTF">2024-06-25T15:34:55Z</dcterms:modified>
</cp:coreProperties>
</file>